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0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1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749" r:id="rId5"/>
    <p:sldId id="1288" r:id="rId6"/>
    <p:sldId id="1299" r:id="rId7"/>
    <p:sldId id="1181" r:id="rId8"/>
    <p:sldId id="1274" r:id="rId9"/>
    <p:sldId id="1294" r:id="rId10"/>
    <p:sldId id="1242" r:id="rId11"/>
    <p:sldId id="1298" r:id="rId12"/>
    <p:sldId id="1276" r:id="rId13"/>
    <p:sldId id="1280" r:id="rId14"/>
    <p:sldId id="1278" r:id="rId15"/>
    <p:sldId id="1279" r:id="rId16"/>
  </p:sldIdLst>
  <p:sldSz cx="8961438" cy="6721475"/>
  <p:notesSz cx="7010400" cy="9296400"/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06">
          <p15:clr>
            <a:srgbClr val="A4A3A4"/>
          </p15:clr>
        </p15:guide>
        <p15:guide id="2" pos="2953">
          <p15:clr>
            <a:srgbClr val="A4A3A4"/>
          </p15:clr>
        </p15:guide>
        <p15:guide id="3" orient="horz" pos="327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  <p15:guide id="5" orient="horz" pos="3100">
          <p15:clr>
            <a:srgbClr val="A4A3A4"/>
          </p15:clr>
        </p15:guide>
        <p15:guide id="6" orient="horz" pos="2909">
          <p15:clr>
            <a:srgbClr val="A4A3A4"/>
          </p15:clr>
        </p15:guide>
        <p15:guide id="7" orient="horz" pos="3140">
          <p15:clr>
            <a:srgbClr val="A4A3A4"/>
          </p15:clr>
        </p15:guide>
        <p15:guide id="8" orient="horz" pos="2947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508909C-4B2B-13E0-8A6B-ED9E27E47C98}" name="Vidler, Lynn (ELD)" initials="V(" userId="S::lynn.vidler@mass.gov::1675df6e-cb8d-4bc7-97a2-e341fd57e1c5" providerId="AD"/>
  <p188:author id="{00E835B9-7C26-E905-8802-C1520535EE9B}" name="Glennon, Brian M. (ELD)" initials="G(" userId="S::brian.m.glennon@mass.gov::5afc7963-af09-4765-8da5-bc83238d9ec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n Tsai" initials="DT" lastIdx="7" clrIdx="0"/>
  <p:cmAuthor id="1" name="Carolyn Sharzer" initials="CBS" lastIdx="6" clrIdx="1"/>
  <p:cmAuthor id="2" name=" Dorothée Alsentzer" initials="DA" lastIdx="2" clrIdx="2"/>
  <p:cmAuthor id="3" name="MGoody" initials="MG" lastIdx="2" clrIdx="3"/>
  <p:cmAuthor id="4" name="Menz, Erica C. (EHS)" initials="MEC(" lastIdx="8" clrIdx="4">
    <p:extLst>
      <p:ext uri="{19B8F6BF-5375-455C-9EA6-DF929625EA0E}">
        <p15:presenceInfo xmlns:p15="http://schemas.microsoft.com/office/powerpoint/2012/main" userId="S::Erica.C.Menz@mass.gov::9ae63da2-9e1c-46af-b91a-fbb9082fd40e" providerId="AD"/>
      </p:ext>
    </p:extLst>
  </p:cmAuthor>
  <p:cmAuthor id="5" name="Bernstein, Amy (EHS)" initials="B(" lastIdx="1" clrIdx="5">
    <p:extLst>
      <p:ext uri="{19B8F6BF-5375-455C-9EA6-DF929625EA0E}">
        <p15:presenceInfo xmlns:p15="http://schemas.microsoft.com/office/powerpoint/2012/main" userId="S::amy.bernstein@mass.gov::1c19884f-b723-47a1-9894-29b67e7e140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F2F2F2"/>
    <a:srgbClr val="002960"/>
    <a:srgbClr val="005183"/>
    <a:srgbClr val="CBDB2A"/>
    <a:srgbClr val="808080"/>
    <a:srgbClr val="0065CC"/>
    <a:srgbClr val="91AFF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24FCA7-66C9-4FF8-80E1-374BED7F1045}" v="1" dt="2024-04-22T18:27:25.5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1" d="100"/>
          <a:sy n="71" d="100"/>
        </p:scale>
        <p:origin x="1180" y="48"/>
      </p:cViewPr>
      <p:guideLst>
        <p:guide orient="horz" pos="2906"/>
        <p:guide pos="2953"/>
        <p:guide orient="horz" pos="327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20"/>
        <p:guide pos="2124"/>
        <p:guide orient="horz" pos="2928"/>
        <p:guide pos="2208"/>
        <p:guide orient="horz" pos="3100"/>
        <p:guide orient="horz" pos="2909"/>
        <p:guide orient="horz" pos="3140"/>
        <p:guide orient="horz" pos="294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82638" y="582613"/>
            <a:ext cx="5451475" cy="40909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86837" y="4995329"/>
            <a:ext cx="6043334" cy="12391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30107" y="95092"/>
            <a:ext cx="65" cy="123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703471" y="8366473"/>
            <a:ext cx="84959" cy="185872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US" sz="1200" smtClean="0"/>
              <a:pPr eaLnBrk="1" hangingPunct="1"/>
              <a:t>0</a:t>
            </a:fld>
            <a:endParaRPr lang="en-US" sz="120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  <a:noFill/>
        </p:spPr>
        <p:txBody>
          <a:bodyPr/>
          <a:lstStyle/>
          <a:p>
            <a:pPr eaLnBrk="1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3375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3265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6221"/>
          </a:xfrm>
        </p:spPr>
        <p:txBody>
          <a:bodyPr/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492443"/>
          </a:xfrm>
        </p:spPr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710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492443"/>
          </a:xfrm>
        </p:spPr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1347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40013" y="5063111"/>
            <a:ext cx="5121275" cy="1077339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>
                  <a:latin typeface="+mn-lt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>
                  <a:latin typeface="+mn-lt"/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13" y="1747839"/>
            <a:ext cx="5299441" cy="492443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13" y="3543975"/>
            <a:ext cx="5299441" cy="215444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>
                <a:latin typeface="+mn-lt"/>
              </a:rPr>
              <a:pPr lvl="0"/>
              <a:t>‹#›</a:t>
            </a:fld>
            <a:endParaRPr lang="en-US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75196" y="369257"/>
            <a:ext cx="8065294" cy="974524"/>
          </a:xfrm>
        </p:spPr>
        <p:txBody>
          <a:bodyPr anchor="t">
            <a:normAutofit/>
          </a:bodyPr>
          <a:lstStyle>
            <a:lvl1pPr algn="l">
              <a:defRPr sz="1900" b="1" i="0">
                <a:solidFill>
                  <a:srgbClr val="00293D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5196" y="1426194"/>
            <a:ext cx="8065294" cy="1092607"/>
          </a:xfrm>
        </p:spPr>
        <p:txBody>
          <a:bodyPr/>
          <a:lstStyle>
            <a:lvl1pPr>
              <a:spcBef>
                <a:spcPts val="0"/>
              </a:spcBef>
              <a:spcAft>
                <a:spcPts val="1176"/>
              </a:spcAft>
              <a:buNone/>
              <a:defRPr sz="1900">
                <a:solidFill>
                  <a:srgbClr val="00293D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2pPr>
            <a:lvl3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3pPr>
            <a:lvl4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4pPr>
            <a:lvl5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Date Placeholder 2"/>
          <p:cNvSpPr>
            <a:spLocks noGrp="1"/>
          </p:cNvSpPr>
          <p:nvPr>
            <p:ph type="dt" sz="half" idx="10"/>
          </p:nvPr>
        </p:nvSpPr>
        <p:spPr>
          <a:xfrm>
            <a:off x="283429" y="6281159"/>
            <a:ext cx="3309444" cy="357856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 sz="10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777989" y="6281159"/>
            <a:ext cx="2091002" cy="357856"/>
          </a:xfrm>
          <a:prstGeom prst="rect">
            <a:avLst/>
          </a:prstGeom>
        </p:spPr>
        <p:txBody>
          <a:bodyPr lIns="89611" tIns="44806" rIns="89611" bIns="44806"/>
          <a:lstStyle>
            <a:lvl1pPr algn="r">
              <a:defRPr sz="13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073F5505-5CEF-F34E-A437-92C1A40610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67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C2D0F0AF-0A69-4E02-9A9C-06A55AF1571E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</p:spTree>
    <p:extLst>
      <p:ext uri="{BB962C8B-B14F-4D97-AF65-F5344CB8AC3E}">
        <p14:creationId xmlns:p14="http://schemas.microsoft.com/office/powerpoint/2010/main" val="28180424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72291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87782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7495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9920603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92084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0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22289"/>
            <a:ext cx="463223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65594" y="6036921"/>
            <a:ext cx="7372005" cy="517023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9900" indent="-469900" defTabSz="895350">
                <a:tabLst>
                  <a:tab pos="481013" algn="l"/>
                  <a:tab pos="665163" algn="l"/>
                </a:tabLst>
              </a:pPr>
              <a:r>
                <a:rPr lang="en-US" sz="1000" baseline="0" noProof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822171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36609" y="649173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>
                <a:latin typeface="+mn-lt"/>
                <a:ea typeface="+mn-ea"/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7974012" y="290507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666037" y="290507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670705" y="290507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7907170" y="290507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8" r:id="rId5"/>
    <p:sldLayoutId id="2147483670" r:id="rId6"/>
    <p:sldLayoutId id="2147483671" r:id="rId7"/>
  </p:sldLayoutIdLst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4.emf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ss.gov/info-details/home-and-community-based-services-waiver-renewal-and-amendment-applications-public-input-process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mailto:HCBSWaivers@mass.gov" TargetMode="Externa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86751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2550561" y="1989199"/>
            <a:ext cx="4613760" cy="984885"/>
          </a:xfrm>
        </p:spPr>
        <p:txBody>
          <a:bodyPr/>
          <a:lstStyle/>
          <a:p>
            <a:r>
              <a:rPr lang="en-US" b="1"/>
              <a:t>EOHHS Public Listening Session</a:t>
            </a:r>
          </a:p>
        </p:txBody>
      </p:sp>
      <p:sp>
        <p:nvSpPr>
          <p:cNvPr id="14" name="Date"/>
          <p:cNvSpPr txBox="1">
            <a:spLocks noChangeArrowheads="1"/>
          </p:cNvSpPr>
          <p:nvPr/>
        </p:nvSpPr>
        <p:spPr bwMode="auto">
          <a:xfrm>
            <a:off x="2318236" y="5956480"/>
            <a:ext cx="4935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>
                <a:latin typeface="+mn-lt"/>
              </a:rPr>
              <a:t>April 22, 2024</a:t>
            </a:r>
          </a:p>
        </p:txBody>
      </p:sp>
      <p:sp>
        <p:nvSpPr>
          <p:cNvPr id="17" name="TitleTopPlaceholder"/>
          <p:cNvSpPr>
            <a:spLocks noChangeArrowheads="1"/>
          </p:cNvSpPr>
          <p:nvPr/>
        </p:nvSpPr>
        <p:spPr bwMode="auto">
          <a:xfrm>
            <a:off x="2083215" y="3181351"/>
            <a:ext cx="2083214" cy="427766"/>
          </a:xfrm>
          <a:prstGeom prst="rect">
            <a:avLst/>
          </a:prstGeom>
          <a:solidFill>
            <a:schemeClr val="accent2">
              <a:lumMod val="75000"/>
              <a:alpha val="77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>
              <a:latin typeface="+mn-lt"/>
            </a:endParaRPr>
          </a:p>
        </p:txBody>
      </p:sp>
      <p:sp>
        <p:nvSpPr>
          <p:cNvPr id="18" name="TitleTopPlaceholder"/>
          <p:cNvSpPr>
            <a:spLocks noChangeArrowheads="1"/>
          </p:cNvSpPr>
          <p:nvPr/>
        </p:nvSpPr>
        <p:spPr bwMode="auto">
          <a:xfrm>
            <a:off x="1" y="3181350"/>
            <a:ext cx="2083214" cy="427766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>
              <a:latin typeface="+mn-lt"/>
            </a:endParaRPr>
          </a:p>
        </p:txBody>
      </p:sp>
      <p:sp>
        <p:nvSpPr>
          <p:cNvPr id="19" name="TitleTopPlaceholder"/>
          <p:cNvSpPr>
            <a:spLocks noChangeArrowheads="1"/>
          </p:cNvSpPr>
          <p:nvPr/>
        </p:nvSpPr>
        <p:spPr bwMode="auto">
          <a:xfrm>
            <a:off x="3808421" y="3182209"/>
            <a:ext cx="5153017" cy="427766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>
              <a:latin typeface="+mn-lt"/>
            </a:endParaRPr>
          </a:p>
        </p:txBody>
      </p:sp>
      <p:pic>
        <p:nvPicPr>
          <p:cNvPr id="13316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42" y="1989199"/>
            <a:ext cx="2033903" cy="2033903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54"/>
          <p:cNvSpPr txBox="1">
            <a:spLocks noChangeArrowheads="1"/>
          </p:cNvSpPr>
          <p:nvPr/>
        </p:nvSpPr>
        <p:spPr bwMode="auto">
          <a:xfrm>
            <a:off x="737722" y="4890949"/>
            <a:ext cx="7485994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800" b="1" kern="0" dirty="0">
                <a:solidFill>
                  <a:schemeClr val="tx1"/>
                </a:solidFill>
              </a:rPr>
              <a:t>Home and Community Based Services (HCBS) Waiver Amendment Applications: </a:t>
            </a:r>
            <a:r>
              <a:rPr lang="en-US" sz="1800" kern="0" dirty="0">
                <a:solidFill>
                  <a:schemeClr val="tx1"/>
                </a:solidFill>
              </a:rPr>
              <a:t>Adult Supports Waiver, Community Living Waiver, and Intensive Supports Waiver</a:t>
            </a:r>
          </a:p>
        </p:txBody>
      </p:sp>
    </p:spTree>
    <p:extLst>
      <p:ext uri="{BB962C8B-B14F-4D97-AF65-F5344CB8AC3E}">
        <p14:creationId xmlns:p14="http://schemas.microsoft.com/office/powerpoint/2010/main" val="33691607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155506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/>
              <a:t>Timeline</a:t>
            </a:r>
          </a:p>
        </p:txBody>
      </p:sp>
      <p:sp>
        <p:nvSpPr>
          <p:cNvPr id="13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78156" y="712694"/>
            <a:ext cx="8458200" cy="55245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rgbClr val="C0C0C0"/>
            </a:outerShdw>
          </a:effectLst>
        </p:spPr>
        <p:txBody>
          <a:bodyPr wrap="none" anchor="ctr"/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en-US" altLang="en-US" sz="2000"/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497515" y="1681672"/>
            <a:ext cx="8085767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587" lvl="1" indent="0" eaLnBrk="1" hangingPunct="1">
              <a:spcBef>
                <a:spcPct val="50000"/>
              </a:spcBef>
              <a:spcAft>
                <a:spcPts val="1200"/>
              </a:spcAft>
              <a:buNone/>
            </a:pPr>
            <a:r>
              <a:rPr lang="en-US" altLang="en-US" sz="2400"/>
              <a:t>Request approval from CMS at least three months prior to desired effective date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9207564"/>
              </p:ext>
            </p:extLst>
          </p:nvPr>
        </p:nvGraphicFramePr>
        <p:xfrm>
          <a:off x="482997" y="2591413"/>
          <a:ext cx="7897210" cy="2378840"/>
        </p:xfrm>
        <a:graphic>
          <a:graphicData uri="http://schemas.openxmlformats.org/drawingml/2006/table">
            <a:tbl>
              <a:tblPr firstRow="1">
                <a:tableStyleId>{00A15C55-8517-42AA-B614-E9B94910E393}</a:tableStyleId>
              </a:tblPr>
              <a:tblGrid>
                <a:gridCol w="37810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162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19676">
                <a:tc>
                  <a:txBody>
                    <a:bodyPr/>
                    <a:lstStyle/>
                    <a:p>
                      <a:pPr algn="ctr"/>
                      <a:r>
                        <a:rPr lang="en-US" sz="20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arget submission 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Target</a:t>
                      </a:r>
                      <a:r>
                        <a:rPr lang="en-US" sz="2000" baseline="0"/>
                        <a:t> effective date</a:t>
                      </a:r>
                      <a:endParaRPr lang="en-US" sz="200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59164">
                <a:tc>
                  <a:txBody>
                    <a:bodyPr/>
                    <a:lstStyle/>
                    <a:p>
                      <a:pPr algn="ctr"/>
                      <a:r>
                        <a:rPr lang="en-US" sz="2400"/>
                        <a:t>June 20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/>
                        <a:t>September 1, 202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68724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92096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031" y="256067"/>
            <a:ext cx="8618537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800"/>
              <a:t>Public Comment: EOHHS requests public input</a:t>
            </a: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250031" y="1002857"/>
            <a:ext cx="8147713" cy="5078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1800" b="1" dirty="0"/>
              <a:t>Last day to submit comments: April 30, 2024</a:t>
            </a:r>
            <a:endParaRPr lang="en-US" altLang="en-US" sz="1800" b="1" dirty="0">
              <a:solidFill>
                <a:srgbClr val="FF0000"/>
              </a:solidFill>
            </a:endParaRPr>
          </a:p>
          <a:p>
            <a:pPr lvl="1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1800" dirty="0"/>
              <a:t>Comments can be submitted via email or mail to EOHHS:</a:t>
            </a:r>
          </a:p>
          <a:p>
            <a:pPr lvl="2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800" b="0" i="0" dirty="0">
                <a:solidFill>
                  <a:srgbClr val="141414"/>
                </a:solidFill>
                <a:effectLst/>
                <a:latin typeface="+mn-lt"/>
              </a:rPr>
              <a:t>Email: </a:t>
            </a:r>
            <a:r>
              <a:rPr lang="en-US" altLang="en-US" sz="1800" dirty="0">
                <a:hlinkClick r:id="rId7"/>
              </a:rPr>
              <a:t>HCBSWaivers@mass.gov</a:t>
            </a:r>
            <a:r>
              <a:rPr lang="en-US" altLang="en-US" sz="1800" dirty="0"/>
              <a:t> (Please state “DDS Adult ID Waiver Comments” in the subject line)</a:t>
            </a:r>
          </a:p>
          <a:p>
            <a:pPr lvl="2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800" b="0" i="0" dirty="0">
                <a:solidFill>
                  <a:srgbClr val="141414"/>
                </a:solidFill>
                <a:effectLst/>
                <a:latin typeface="+mn-lt"/>
              </a:rPr>
              <a:t>Mail: HCBS Waiver Unit, Executive Office of Health and Human Services, RE: DDS Adult ID Waiver Comments, 1 Ashburton Place, 3rd Floor, Boston, MA 02108 </a:t>
            </a:r>
            <a:endParaRPr lang="en-US" altLang="en-US" sz="1800" dirty="0"/>
          </a:p>
          <a:p>
            <a:pPr lvl="1" eaLnBrk="1" hangingPunct="1">
              <a:spcBef>
                <a:spcPct val="50000"/>
              </a:spcBef>
              <a:spcAft>
                <a:spcPts val="600"/>
              </a:spcAft>
            </a:pPr>
            <a:r>
              <a:rPr lang="en-US" altLang="en-US" sz="1800" dirty="0"/>
              <a:t>The applications with proposed changes and this presentation are posted online:</a:t>
            </a:r>
          </a:p>
          <a:p>
            <a:pPr lvl="2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1800" dirty="0">
                <a:solidFill>
                  <a:srgbClr val="FF0000"/>
                </a:solidFill>
                <a:hlinkClick r:id="rId8"/>
              </a:rPr>
              <a:t>https://www.mass.gov/info-details/home-and-community-based-services-waiver-renewal-and-amendment-applications-public-input-process</a:t>
            </a:r>
            <a:endParaRPr lang="en-US" altLang="en-US" sz="1800" dirty="0">
              <a:solidFill>
                <a:srgbClr val="FF0000"/>
              </a:solidFill>
            </a:endParaRPr>
          </a:p>
          <a:p>
            <a:pPr lvl="2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1800" dirty="0"/>
              <a:t>Hard copies of the applications with proposed changes are available upon request. Please use email or mailing address above.</a:t>
            </a:r>
          </a:p>
        </p:txBody>
      </p:sp>
    </p:spTree>
    <p:extLst>
      <p:ext uri="{BB962C8B-B14F-4D97-AF65-F5344CB8AC3E}">
        <p14:creationId xmlns:p14="http://schemas.microsoft.com/office/powerpoint/2010/main" val="34739313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62031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/>
              <a:t>Public Comment: </a:t>
            </a:r>
            <a:br>
              <a:rPr lang="en-US" sz="2400"/>
            </a:br>
            <a:r>
              <a:rPr lang="en-US" sz="2400"/>
              <a:t>Oral Comments at Today’s Listening Session</a:t>
            </a: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286603" y="1447800"/>
            <a:ext cx="8420669" cy="4308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indent="-191770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/>
              <a:t>Share your input with us today</a:t>
            </a:r>
            <a:endParaRPr lang="en-US"/>
          </a:p>
          <a:p>
            <a:pPr lvl="2" indent="-261620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/>
              <a:t>Please state your name and affiliation (e.g., waiver participant, family member, waiver service provider, etc.)</a:t>
            </a:r>
            <a:endParaRPr lang="en-US" altLang="en-US" sz="2000">
              <a:cs typeface="Arial" charset="0"/>
            </a:endParaRPr>
          </a:p>
          <a:p>
            <a:pPr lvl="1" indent="-191770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/>
              <a:t>Oral comment at today’s session does </a:t>
            </a:r>
            <a:r>
              <a:rPr lang="en-US" altLang="en-US" sz="2000" b="1"/>
              <a:t>not</a:t>
            </a:r>
            <a:r>
              <a:rPr lang="en-US" altLang="en-US" sz="2000"/>
              <a:t> need to be submitted in writing.</a:t>
            </a:r>
            <a:endParaRPr lang="en-US" altLang="en-US" sz="2000">
              <a:cs typeface="Arial" charset="0"/>
            </a:endParaRPr>
          </a:p>
          <a:p>
            <a:pPr lvl="1" indent="-191770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>
                <a:latin typeface="Arial"/>
                <a:cs typeface="Arial"/>
              </a:rPr>
              <a:t>If you wish to provide comments but are unable to do so during today’s session, please email or mail your comments by April 30, 2024</a:t>
            </a:r>
            <a:r>
              <a:rPr lang="en-US" altLang="en-US" sz="2000">
                <a:solidFill>
                  <a:srgbClr val="000000"/>
                </a:solidFill>
                <a:latin typeface="Arial"/>
                <a:cs typeface="Arial"/>
              </a:rPr>
              <a:t>.</a:t>
            </a:r>
            <a:r>
              <a:rPr lang="en-US" altLang="en-US" sz="2000">
                <a:solidFill>
                  <a:schemeClr val="bg1"/>
                </a:solidFill>
                <a:latin typeface="Arial"/>
                <a:cs typeface="Arial"/>
              </a:rPr>
              <a:t>. </a:t>
            </a:r>
            <a:endParaRPr lang="en-US" altLang="en-US" sz="2000">
              <a:solidFill>
                <a:schemeClr val="bg1"/>
              </a:solidFill>
              <a:cs typeface="Arial"/>
            </a:endParaRPr>
          </a:p>
          <a:p>
            <a:pPr marL="1270" lvl="1" indent="0" algn="ctr" eaLnBrk="1" hangingPunct="1">
              <a:spcBef>
                <a:spcPct val="50000"/>
              </a:spcBef>
              <a:spcAft>
                <a:spcPts val="1200"/>
              </a:spcAft>
              <a:buNone/>
            </a:pPr>
            <a:endParaRPr lang="en-US" altLang="en-US" sz="2000" b="1" i="1">
              <a:solidFill>
                <a:schemeClr val="tx2"/>
              </a:solidFill>
              <a:latin typeface="+mj-lt"/>
              <a:ea typeface="+mj-ea"/>
              <a:cs typeface="Arial"/>
            </a:endParaRPr>
          </a:p>
          <a:p>
            <a:pPr marL="1270" lvl="1" indent="0" algn="ctr" eaLnBrk="1" hangingPunct="1">
              <a:spcBef>
                <a:spcPct val="50000"/>
              </a:spcBef>
              <a:spcAft>
                <a:spcPts val="1200"/>
              </a:spcAft>
              <a:buNone/>
            </a:pPr>
            <a:r>
              <a:rPr lang="en-US" altLang="en-US" sz="2000" b="1" i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!</a:t>
            </a:r>
            <a:endParaRPr lang="en-US" altLang="en-US" sz="2000" b="1" i="1">
              <a:solidFill>
                <a:schemeClr val="tx2"/>
              </a:solidFill>
              <a:latin typeface="+mj-lt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223364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729507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/>
              <a:t>Zoom/Conference Call Logistics</a:t>
            </a: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191069" y="874584"/>
            <a:ext cx="8611737" cy="5155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ct val="50000"/>
              </a:spcBef>
              <a:spcAft>
                <a:spcPts val="600"/>
              </a:spcAft>
            </a:pPr>
            <a:r>
              <a:rPr lang="en-US" altLang="en-US" sz="2400"/>
              <a:t>To avoid echo, background noise, and disruptive feedback on this call, </a:t>
            </a:r>
            <a:r>
              <a:rPr lang="en-US" altLang="en-US" sz="2400" b="1"/>
              <a:t>please place yourself on MUTE</a:t>
            </a:r>
          </a:p>
          <a:p>
            <a:pPr lvl="2" eaLnBrk="1" hangingPunct="1">
              <a:spcBef>
                <a:spcPct val="50000"/>
              </a:spcBef>
              <a:spcAft>
                <a:spcPts val="0"/>
              </a:spcAft>
            </a:pPr>
            <a:r>
              <a:rPr lang="en-US" altLang="en-US" sz="2400"/>
              <a:t>In Zoom, find the microphone icon and click to MUTE</a:t>
            </a:r>
          </a:p>
          <a:p>
            <a:pPr marL="195262" lvl="2" indent="0" eaLnBrk="1" hangingPunct="1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2400"/>
              <a:t>			- Or - </a:t>
            </a:r>
            <a:endParaRPr lang="en-US" altLang="en-US" sz="1500"/>
          </a:p>
          <a:p>
            <a:pPr lvl="2" eaLnBrk="1" hangingPunct="1">
              <a:spcBef>
                <a:spcPts val="0"/>
              </a:spcBef>
              <a:spcAft>
                <a:spcPts val="600"/>
              </a:spcAft>
            </a:pPr>
            <a:r>
              <a:rPr lang="en-US" altLang="en-US" sz="2400"/>
              <a:t>On your telephone, use the MUTE function </a:t>
            </a:r>
          </a:p>
          <a:p>
            <a:pPr lvl="1" eaLnBrk="1" hangingPunct="1">
              <a:spcBef>
                <a:spcPct val="50000"/>
              </a:spcBef>
              <a:spcAft>
                <a:spcPts val="600"/>
              </a:spcAft>
            </a:pPr>
            <a:r>
              <a:rPr lang="en-US" altLang="en-US" sz="2400"/>
              <a:t>If you would like to speak after our brief presentation</a:t>
            </a:r>
          </a:p>
          <a:p>
            <a:pPr lvl="2" eaLnBrk="1" hangingPunct="1">
              <a:spcBef>
                <a:spcPct val="50000"/>
              </a:spcBef>
              <a:spcAft>
                <a:spcPts val="0"/>
              </a:spcAft>
            </a:pPr>
            <a:r>
              <a:rPr lang="en-US" altLang="en-US" sz="2400"/>
              <a:t>In Zoom, use the “raise hand” or chat function to alert moderator that you wish to speak</a:t>
            </a:r>
          </a:p>
          <a:p>
            <a:pPr marL="195262" lvl="2" indent="0" eaLnBrk="1" hangingPunct="1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2400"/>
              <a:t>			- Or - </a:t>
            </a:r>
            <a:endParaRPr lang="en-US" altLang="en-US" sz="1500"/>
          </a:p>
          <a:p>
            <a:pPr lvl="2" eaLnBrk="1" hangingPunct="1">
              <a:spcBef>
                <a:spcPts val="0"/>
              </a:spcBef>
              <a:spcAft>
                <a:spcPts val="600"/>
              </a:spcAft>
            </a:pPr>
            <a:r>
              <a:rPr lang="en-US" altLang="en-US" sz="2400"/>
              <a:t>On your telephone, briefly unmute yourself and let us know you wish to speak</a:t>
            </a:r>
          </a:p>
        </p:txBody>
      </p:sp>
    </p:spTree>
    <p:extLst>
      <p:ext uri="{BB962C8B-B14F-4D97-AF65-F5344CB8AC3E}">
        <p14:creationId xmlns:p14="http://schemas.microsoft.com/office/powerpoint/2010/main" val="23113414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/>
              <a:t>Zoom/Conference Call Logistics</a:t>
            </a: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191069" y="874584"/>
            <a:ext cx="8611737" cy="31085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ct val="50000"/>
              </a:spcBef>
              <a:spcAft>
                <a:spcPts val="600"/>
              </a:spcAft>
            </a:pPr>
            <a:r>
              <a:rPr lang="en-US" altLang="en-US" sz="2400" dirty="0"/>
              <a:t>To turn on captions follow the steps below:</a:t>
            </a:r>
            <a:endParaRPr lang="en-US" altLang="en-US" sz="2400" b="1" dirty="0"/>
          </a:p>
          <a:p>
            <a:pPr lvl="2" eaLnBrk="1" hangingPunct="1">
              <a:spcBef>
                <a:spcPct val="50000"/>
              </a:spcBef>
              <a:spcAft>
                <a:spcPts val="0"/>
              </a:spcAft>
            </a:pPr>
            <a:r>
              <a:rPr lang="en-US" altLang="en-US" sz="2400" dirty="0"/>
              <a:t>Click on the three dots on the bottom right-hand side</a:t>
            </a:r>
          </a:p>
          <a:p>
            <a:pPr lvl="2" eaLnBrk="1" hangingPunct="1">
              <a:spcBef>
                <a:spcPct val="50000"/>
              </a:spcBef>
              <a:spcAft>
                <a:spcPts val="0"/>
              </a:spcAft>
            </a:pPr>
            <a:r>
              <a:rPr lang="en-US" altLang="en-US" sz="2400" dirty="0"/>
              <a:t>Choose “show captions” from the drop-down menu </a:t>
            </a:r>
          </a:p>
          <a:p>
            <a:pPr lvl="2" eaLnBrk="1" hangingPunct="1">
              <a:spcBef>
                <a:spcPct val="50000"/>
              </a:spcBef>
              <a:spcAft>
                <a:spcPts val="0"/>
              </a:spcAft>
            </a:pPr>
            <a:r>
              <a:rPr lang="en-US" altLang="en-US" sz="2400" dirty="0"/>
              <a:t>Select your language and click “ok”</a:t>
            </a:r>
          </a:p>
          <a:p>
            <a:pPr lvl="2" eaLnBrk="1" hangingPunct="1">
              <a:spcBef>
                <a:spcPct val="50000"/>
              </a:spcBef>
              <a:spcAft>
                <a:spcPts val="0"/>
              </a:spcAft>
            </a:pPr>
            <a:endParaRPr lang="en-US" altLang="en-US" sz="2400" dirty="0"/>
          </a:p>
          <a:p>
            <a:pPr marL="195262" lvl="2" indent="0" eaLnBrk="1" hangingPunct="1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2400" dirty="0"/>
              <a:t>			</a:t>
            </a:r>
            <a:r>
              <a:rPr lang="en-US" altLang="en-US" sz="2400" b="1" i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8388786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142751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800"/>
              <a:t>Agenda </a:t>
            </a: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gray">
          <a:xfrm>
            <a:off x="774505" y="1565738"/>
            <a:ext cx="7307652" cy="3939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ct val="500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altLang="en-US" sz="2800"/>
              <a:t> Introductions </a:t>
            </a:r>
          </a:p>
          <a:p>
            <a:pPr lvl="1" eaLnBrk="1" hangingPunct="1">
              <a:spcBef>
                <a:spcPct val="500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altLang="en-US" sz="2800"/>
              <a:t> Overview of Waiver Amendments</a:t>
            </a:r>
          </a:p>
          <a:p>
            <a:pPr lvl="1" eaLnBrk="1" hangingPunct="1">
              <a:spcBef>
                <a:spcPct val="500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altLang="en-US" sz="2800" b="0"/>
              <a:t> Summary of Changes Being Proposed</a:t>
            </a:r>
          </a:p>
          <a:p>
            <a:pPr lvl="1" eaLnBrk="1" hangingPunct="1">
              <a:spcBef>
                <a:spcPct val="500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altLang="en-US" sz="2800" b="0"/>
              <a:t> Process and Timeline</a:t>
            </a:r>
          </a:p>
          <a:p>
            <a:pPr lvl="1" eaLnBrk="1" hangingPunct="1">
              <a:spcBef>
                <a:spcPct val="500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altLang="en-US" sz="2800"/>
              <a:t> Public Comments</a:t>
            </a:r>
          </a:p>
        </p:txBody>
      </p:sp>
    </p:spTree>
    <p:extLst>
      <p:ext uri="{BB962C8B-B14F-4D97-AF65-F5344CB8AC3E}">
        <p14:creationId xmlns:p14="http://schemas.microsoft.com/office/powerpoint/2010/main" val="4855989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73418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/>
              <a:t>Common Acronyms and Term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AACAB60-D6D8-0DDF-83A0-BC933057E2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4882615"/>
              </p:ext>
            </p:extLst>
          </p:nvPr>
        </p:nvGraphicFramePr>
        <p:xfrm>
          <a:off x="439244" y="1299050"/>
          <a:ext cx="8082950" cy="3505200"/>
        </p:xfrm>
        <a:graphic>
          <a:graphicData uri="http://schemas.openxmlformats.org/drawingml/2006/table">
            <a:tbl>
              <a:tblPr bandRow="1">
                <a:tableStyleId>{D27102A9-8310-4765-A935-A1911B00CA55}</a:tableStyleId>
              </a:tblPr>
              <a:tblGrid>
                <a:gridCol w="18374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455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r>
                        <a:rPr lang="en-US" sz="2200"/>
                        <a:t>CM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/>
                        <a:t>Centers for Medicare</a:t>
                      </a:r>
                      <a:r>
                        <a:rPr lang="en-US" sz="2200" baseline="0"/>
                        <a:t> and Medicaid Services</a:t>
                      </a:r>
                      <a:endParaRPr lang="en-US" sz="2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2200"/>
                        <a:t>EOHH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ecutive Office of Health and Human Servic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2200"/>
                        <a:t>HCB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/>
                        <a:t>Home and Community Based Servic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2200"/>
                        <a:t>MassHeal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/>
                        <a:t>The Massachusetts Medicaid Progra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2200"/>
                        <a:t>DD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/>
                        <a:t>Department of Developmental Servic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5535642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2400" kern="0">
                          <a:latin typeface="+mn-lt"/>
                          <a:cs typeface="Arial"/>
                        </a:rPr>
                        <a:t>ICF/IID</a:t>
                      </a:r>
                      <a:endParaRPr lang="en-US" sz="2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mediate Care Facility for Individuals with Intellectual Disability</a:t>
                      </a:r>
                      <a:endParaRPr lang="en-US" sz="2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69413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5711" y="341242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/>
              <a:t>Overview: </a:t>
            </a:r>
            <a:r>
              <a:rPr lang="en-US" altLang="en-US" sz="2400"/>
              <a:t>Waiver Amendment Process</a:t>
            </a:r>
            <a:endParaRPr lang="en-US" sz="2400"/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gray">
          <a:xfrm>
            <a:off x="265711" y="1157684"/>
            <a:ext cx="8574664" cy="4001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indent="-191770" eaLnBrk="1" hangingPunct="1"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CMS typically approves Home and Community Based Services waivers for a period of five years.</a:t>
            </a:r>
            <a:endParaRPr lang="en-US" dirty="0"/>
          </a:p>
          <a:p>
            <a:pPr lvl="1" indent="-191770" eaLnBrk="1" hangingPunct="1"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Changes to an approved waiver must be submitted to CMS through a Request for an Amendment.</a:t>
            </a:r>
          </a:p>
          <a:p>
            <a:pPr lvl="1" indent="-191770" eaLnBrk="1" hangingPunct="1"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MassHealth and DDS jointly developed the amendment applications.</a:t>
            </a:r>
            <a:endParaRPr lang="en-US" sz="2000" dirty="0">
              <a:latin typeface="+mn-lt"/>
              <a:cs typeface="Arial"/>
            </a:endParaRPr>
          </a:p>
          <a:p>
            <a:pPr lvl="1" indent="-191770" eaLnBrk="1" hangingPunct="1"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The draft waiver amendment applications are posted for a 30-day public comment period that ends on April 30, 2024.</a:t>
            </a:r>
            <a:endParaRPr lang="en-US" sz="2000" dirty="0">
              <a:solidFill>
                <a:srgbClr val="FF0000"/>
              </a:solidFill>
              <a:latin typeface="+mn-lt"/>
              <a:cs typeface="Arial"/>
            </a:endParaRPr>
          </a:p>
          <a:p>
            <a:pPr lvl="1" indent="-191770" eaLnBrk="1" hangingPunct="1"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Today we are holding a listening session to hear public comments about the amendment applications. </a:t>
            </a:r>
            <a:endParaRPr lang="en-US" altLang="en-US" sz="2000" dirty="0">
              <a:latin typeface="+mn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712339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5711" y="125030"/>
            <a:ext cx="8618537" cy="14773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Overview: </a:t>
            </a:r>
            <a:r>
              <a:rPr lang="en-US" altLang="en-US" sz="2400" dirty="0"/>
              <a:t>Adult Supports Waiver, Community Living Waiver, and Intensive Supports Waiver</a:t>
            </a:r>
            <a:br>
              <a:rPr lang="en-US" altLang="en-US" sz="2400" dirty="0"/>
            </a:br>
            <a:br>
              <a:rPr lang="en-US" altLang="en-US" sz="2400" dirty="0"/>
            </a:br>
            <a:endParaRPr lang="en-US" sz="2400" dirty="0"/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gray">
          <a:xfrm>
            <a:off x="265711" y="1014834"/>
            <a:ext cx="8240336" cy="55399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/>
            <a:r>
              <a:rPr lang="en-US" sz="2000" kern="0" dirty="0">
                <a:latin typeface="Arial"/>
                <a:cs typeface="Arial"/>
              </a:rPr>
              <a:t>These waivers provide services and supports to adults, age 22 years and older, who are at an ICF/IID level of care. 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000" kern="0" dirty="0">
              <a:latin typeface="Arial"/>
              <a:cs typeface="Arial"/>
            </a:endParaRPr>
          </a:p>
          <a:p>
            <a:pPr marL="457200" indent="-457200">
              <a:buSzPct val="125000"/>
              <a:buFont typeface="Arial" panose="020B0604020202020204" pitchFamily="34" charset="0"/>
              <a:buChar char="•"/>
            </a:pPr>
            <a:r>
              <a:rPr lang="en-US" sz="2000" kern="0" dirty="0">
                <a:latin typeface="+mn-lt"/>
                <a:cs typeface="Arial"/>
              </a:rPr>
              <a:t>Adult Supports Waiver (AS):  serves individuals who require community-based supports to</a:t>
            </a:r>
            <a:r>
              <a:rPr lang="en-US" sz="2000" kern="0" dirty="0">
                <a:latin typeface="+mn-lt"/>
              </a:rPr>
              <a:t> </a:t>
            </a:r>
            <a:r>
              <a:rPr lang="en-US" sz="2000" kern="0" dirty="0">
                <a:latin typeface="+mn-lt"/>
                <a:cs typeface="Arial"/>
              </a:rPr>
              <a:t>reside successfully in the community, and who have a strong natural or informal support system. </a:t>
            </a:r>
            <a:r>
              <a:rPr lang="en-US" sz="2000" b="0" i="0" dirty="0">
                <a:solidFill>
                  <a:srgbClr val="141414"/>
                </a:solidFill>
                <a:effectLst/>
                <a:latin typeface="+mn-lt"/>
              </a:rPr>
              <a:t>Participants live in family homes, adult foster care, or independently and do not require 24-hour care. </a:t>
            </a:r>
            <a:endParaRPr lang="en-US" sz="2000" kern="0" dirty="0">
              <a:latin typeface="+mn-lt"/>
              <a:cs typeface="Arial"/>
            </a:endParaRPr>
          </a:p>
          <a:p>
            <a:pPr marL="0" indent="0"/>
            <a:endParaRPr lang="en-US" sz="2000" kern="0" dirty="0">
              <a:solidFill>
                <a:schemeClr val="tx1"/>
              </a:solidFill>
            </a:endParaRPr>
          </a:p>
          <a:p>
            <a:pPr marL="457200" indent="-457200">
              <a:buSzPct val="125000"/>
              <a:buFont typeface="Arial" panose="020B0604020202020204" pitchFamily="34" charset="0"/>
              <a:buChar char="•"/>
            </a:pPr>
            <a:r>
              <a:rPr lang="en-US" sz="2000" kern="0" dirty="0">
                <a:latin typeface="Arial"/>
                <a:cs typeface="Arial"/>
              </a:rPr>
              <a:t>Community Living Waiver (CL): serves individuals who require a moderate level of assistance.  Participants live in family homes, adult foster care, with a live-in caregiver, or independently and do not require 24-hour care</a:t>
            </a:r>
            <a:r>
              <a:rPr lang="en-US" sz="2000" b="0" i="0" dirty="0">
                <a:solidFill>
                  <a:srgbClr val="141414"/>
                </a:solidFill>
                <a:effectLst/>
                <a:latin typeface="Noto Sans VF"/>
              </a:rPr>
              <a:t>. </a:t>
            </a:r>
          </a:p>
          <a:p>
            <a:pPr marL="0" indent="0">
              <a:buSzPct val="125000"/>
            </a:pPr>
            <a:endParaRPr lang="en-US" sz="2000" b="0" i="0" dirty="0">
              <a:solidFill>
                <a:srgbClr val="141414"/>
              </a:solidFill>
              <a:effectLst/>
              <a:latin typeface="Noto Sans VF"/>
            </a:endParaRPr>
          </a:p>
          <a:p>
            <a:pPr marL="457200" indent="-457200">
              <a:buSzPct val="125000"/>
              <a:buFont typeface="Arial" panose="020B0604020202020204" pitchFamily="34" charset="0"/>
              <a:buChar char="•"/>
            </a:pPr>
            <a:r>
              <a:rPr lang="en-US" sz="2000" kern="0" dirty="0">
                <a:latin typeface="Arial"/>
                <a:cs typeface="Arial"/>
              </a:rPr>
              <a:t>Intensive Supports Waiver (IS): serves individuals who require 24/7 supervision and support to avoid institutionalization.</a:t>
            </a:r>
          </a:p>
          <a:p>
            <a:pPr marL="457200" indent="-457200">
              <a:buSzPct val="125000"/>
              <a:buFont typeface="Arial" panose="020B0604020202020204" pitchFamily="34" charset="0"/>
              <a:buChar char="•"/>
            </a:pPr>
            <a:endParaRPr lang="en-US" sz="2000" kern="0" dirty="0">
              <a:latin typeface="Arial"/>
              <a:cs typeface="Arial"/>
            </a:endParaRPr>
          </a:p>
          <a:p>
            <a:pPr marL="0" indent="0"/>
            <a:endParaRPr lang="en-US" sz="2000" kern="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347216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0134" y="385451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/>
              <a:t>Summary of Proposed Changes in these Amendmen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F8AC7CE-F197-4FFD-8D66-39385B4BDD72}"/>
              </a:ext>
            </a:extLst>
          </p:cNvPr>
          <p:cNvSpPr txBox="1"/>
          <p:nvPr/>
        </p:nvSpPr>
        <p:spPr>
          <a:xfrm>
            <a:off x="266444" y="1084396"/>
            <a:ext cx="8202603" cy="378565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+mn-lt"/>
                <a:ea typeface="Times New Roman" panose="02020603050405020304" pitchFamily="18" charset="0"/>
                <a:cs typeface="Calibri"/>
              </a:rPr>
              <a:t>Increase the current spending limit in the DDS-AS Waiver from $40,000 to $60,000 to accommodate existing and future waiver service rate increases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2000" dirty="0">
              <a:effectLst/>
              <a:latin typeface="+mn-lt"/>
              <a:ea typeface="Times New Roman" panose="02020603050405020304" pitchFamily="18" charset="0"/>
              <a:cs typeface="Calibri"/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+mn-lt"/>
                <a:ea typeface="Times New Roman" panose="02020603050405020304" pitchFamily="18" charset="0"/>
                <a:cs typeface="Calibri"/>
              </a:rPr>
              <a:t>Increase the current spending limit in the DDS-CL Waiver from $70,000 to $100,000 to accommodate existing and future waiver service rate increases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2000" dirty="0">
              <a:effectLst/>
              <a:latin typeface="+mn-lt"/>
              <a:ea typeface="Times New Roman" panose="02020603050405020304" pitchFamily="18" charset="0"/>
              <a:cs typeface="Calibri"/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+mn-lt"/>
                <a:ea typeface="Times New Roman" panose="02020603050405020304" pitchFamily="18" charset="0"/>
                <a:cs typeface="Calibri"/>
              </a:rPr>
              <a:t>Revise the Placement Services (Shared Living) – 24 Hour Supports service definition, in the DDS-IS Waiver, to allow for cases where a third individual may be placed in the home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2000" dirty="0">
              <a:latin typeface="+mn-lt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43656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836766" y="2332020"/>
            <a:ext cx="7289801" cy="792559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prstShdw prst="shdw17" dist="17961" dir="2700000">
              <a:schemeClr val="hlink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none" rtlCol="0" anchor="ctr"/>
          <a:lstStyle/>
          <a:p>
            <a:pPr algn="ctr"/>
            <a:endParaRPr lang="en-US" sz="2000">
              <a:solidFill>
                <a:schemeClr val="bg1"/>
              </a:solidFill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457071" y="1732621"/>
            <a:ext cx="7942520" cy="4247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458787" lvl="1" indent="-457200" eaLnBrk="1" hangingPunct="1">
              <a:spcBef>
                <a:spcPct val="50000"/>
              </a:spcBef>
              <a:spcAft>
                <a:spcPts val="1800"/>
              </a:spcAft>
              <a:buSzPct val="105000"/>
              <a:buFont typeface="+mj-lt"/>
              <a:buAutoNum type="arabicPeriod"/>
            </a:pPr>
            <a:r>
              <a:rPr lang="en-US" altLang="en-US" sz="2400"/>
              <a:t>DDS and MassHealth collaborate to identify updates </a:t>
            </a:r>
          </a:p>
          <a:p>
            <a:pPr marL="458787" lvl="1" indent="-457200" eaLnBrk="1" hangingPunct="1">
              <a:spcBef>
                <a:spcPct val="50000"/>
              </a:spcBef>
              <a:spcAft>
                <a:spcPts val="1800"/>
              </a:spcAft>
              <a:buSzPct val="105000"/>
              <a:buFont typeface="+mj-lt"/>
              <a:buAutoNum type="arabicPeriod"/>
            </a:pPr>
            <a:r>
              <a:rPr lang="en-US" altLang="en-US" sz="2400"/>
              <a:t>Gather public input</a:t>
            </a:r>
          </a:p>
          <a:p>
            <a:pPr marL="458787" lvl="1" indent="-457200" eaLnBrk="1" hangingPunct="1">
              <a:spcBef>
                <a:spcPct val="50000"/>
              </a:spcBef>
              <a:spcAft>
                <a:spcPts val="1800"/>
              </a:spcAft>
              <a:buSzPct val="105000"/>
              <a:buFont typeface="+mj-lt"/>
              <a:buAutoNum type="arabicPeriod"/>
            </a:pPr>
            <a:r>
              <a:rPr lang="en-US" altLang="en-US" sz="2400"/>
              <a:t>Review public comments and make additional revisions to amendment applications where appropriate</a:t>
            </a:r>
          </a:p>
          <a:p>
            <a:pPr marL="458787" lvl="1" indent="-457200" eaLnBrk="1" hangingPunct="1">
              <a:spcBef>
                <a:spcPct val="50000"/>
              </a:spcBef>
              <a:spcAft>
                <a:spcPts val="1800"/>
              </a:spcAft>
              <a:buSzPct val="105000"/>
              <a:buFont typeface="+mj-lt"/>
              <a:buAutoNum type="arabicPeriod"/>
            </a:pPr>
            <a:r>
              <a:rPr lang="en-US" altLang="en-US" sz="2400"/>
              <a:t>Request CMS approval </a:t>
            </a:r>
          </a:p>
          <a:p>
            <a:pPr marL="458787" lvl="1" indent="-457200" eaLnBrk="1" hangingPunct="1">
              <a:spcBef>
                <a:spcPct val="50000"/>
              </a:spcBef>
              <a:spcAft>
                <a:spcPts val="1800"/>
              </a:spcAft>
              <a:buSzPct val="105000"/>
              <a:buFont typeface="+mj-lt"/>
              <a:buAutoNum type="arabicPeriod"/>
            </a:pPr>
            <a:r>
              <a:rPr lang="en-US" altLang="en-US" sz="2400"/>
              <a:t>Implement updates when waiver amendment authorization period begins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609019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/>
              <a:t>Process: HCBS Waiver Amendment</a:t>
            </a:r>
          </a:p>
        </p:txBody>
      </p:sp>
    </p:spTree>
    <p:extLst>
      <p:ext uri="{BB962C8B-B14F-4D97-AF65-F5344CB8AC3E}">
        <p14:creationId xmlns:p14="http://schemas.microsoft.com/office/powerpoint/2010/main" val="23779588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1 %#d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ISNEWSLIDENUMBER" val="False"/>
  <p:tag name="PREVIOUSNAME" val="C:\Users\Lauren Abel\AppData\Local\Temp\notesB98C6B\2015.01.22 Medicaid workshop 4_v22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7BzxmxkitXy2YaDDe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Slides for February 2018 Listening Sessions_FINAL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hlink"/>
            </a:gs>
            <a:gs pos="100000">
              <a:schemeClr val="hlink">
                <a:gamma/>
                <a:shade val="46275"/>
                <a:invGamma/>
              </a:schemeClr>
            </a:gs>
          </a:gsLst>
          <a:lin ang="5400000" scaled="1"/>
        </a:gradFill>
        <a:ln>
          <a:noFill/>
        </a:ln>
        <a:effectLst>
          <a:prstShdw prst="shdw17" dist="17961" dir="2700000">
            <a:schemeClr val="hlink">
              <a:gamma/>
              <a:shade val="60000"/>
              <a:invGamma/>
              <a:alpha val="50000"/>
            </a:schemeClr>
          </a:prstShdw>
        </a:effectLst>
        <a:extLst>
          <a:ext uri="{91240B29-F687-4F45-9708-019B960494DF}">
            <a14:hiddenLine xmlns:a14="http://schemas.microsoft.com/office/drawing/2010/main" w="19050" algn="ctr">
              <a:solidFill>
                <a:schemeClr val="bg1"/>
              </a:solidFill>
              <a:miter lim="800000"/>
              <a:headEnd/>
              <a:tailEnd/>
            </a14:hiddenLine>
          </a:ext>
        </a:extLst>
      </a:spPr>
      <a:bodyPr wrap="none" anchor="ctr"/>
      <a:lstStyle>
        <a:defPPr>
          <a:defRPr sz="2000">
            <a:solidFill>
              <a:schemeClr val="bg1"/>
            </a:solidFill>
          </a:defRPr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1f3e3b9-8052-4988-a4eb-24f16969dcab">
      <UserInfo>
        <DisplayName>Alvarez, Melissa (DDS)</DisplayName>
        <AccountId>37</AccountId>
        <AccountType/>
      </UserInfo>
      <UserInfo>
        <DisplayName>Bruner-Canhoto, Laney (DDS)</DisplayName>
        <AccountId>19</AccountId>
        <AccountType/>
      </UserInfo>
      <UserInfo>
        <DisplayName>Dantzer, Nicholas (DDS)</DisplayName>
        <AccountId>35</AccountId>
        <AccountType/>
      </UserInfo>
      <UserInfo>
        <DisplayName>Gallagher, Kathleen H (DDS)</DisplayName>
        <AccountId>28</AccountId>
        <AccountType/>
      </UserInfo>
      <UserInfo>
        <DisplayName>Quinn, Helen (DDS)</DisplayName>
        <AccountId>30</AccountId>
        <AccountType/>
      </UserInfo>
      <UserInfo>
        <DisplayName>Sandblom, Elizabeth (DDS)</DisplayName>
        <AccountId>34</AccountId>
        <AccountType/>
      </UserInfo>
      <UserInfo>
        <DisplayName>Rockwell, Sara (DDS)</DisplayName>
        <AccountId>48</AccountId>
        <AccountType/>
      </UserInfo>
      <UserInfo>
        <DisplayName>Harris, Michelle (DDS)</DisplayName>
        <AccountId>60</AccountId>
        <AccountType/>
      </UserInfo>
      <UserInfo>
        <DisplayName>Fishkin Strout, Jaki D. (EHS)</DisplayName>
        <AccountId>49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CAA8BD88EB8945AAE04407B477030C" ma:contentTypeVersion="6" ma:contentTypeDescription="Create a new document." ma:contentTypeScope="" ma:versionID="0b582c6127d1e6d785740233dc093e1d">
  <xsd:schema xmlns:xsd="http://www.w3.org/2001/XMLSchema" xmlns:xs="http://www.w3.org/2001/XMLSchema" xmlns:p="http://schemas.microsoft.com/office/2006/metadata/properties" xmlns:ns2="d8ecd2c7-f42d-412b-950c-7056a0e524ed" xmlns:ns3="91f3e3b9-8052-4988-a4eb-24f16969dcab" targetNamespace="http://schemas.microsoft.com/office/2006/metadata/properties" ma:root="true" ma:fieldsID="d73faa224800b480024f6965d332ee53" ns2:_="" ns3:_="">
    <xsd:import namespace="d8ecd2c7-f42d-412b-950c-7056a0e524ed"/>
    <xsd:import namespace="91f3e3b9-8052-4988-a4eb-24f16969dca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ecd2c7-f42d-412b-950c-7056a0e524e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f3e3b9-8052-4988-a4eb-24f16969dca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E2EA36F-5A16-49DA-85F5-D326230F8B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4F42116-6A7B-4D37-9AB8-EDC2A008D67E}">
  <ds:schemaRefs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91f3e3b9-8052-4988-a4eb-24f16969dcab"/>
    <ds:schemaRef ds:uri="http://purl.org/dc/terms/"/>
    <ds:schemaRef ds:uri="d8ecd2c7-f42d-412b-950c-7056a0e524ed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A187668-429E-43B1-A45C-FE0A0E65C477}">
  <ds:schemaRefs>
    <ds:schemaRef ds:uri="91f3e3b9-8052-4988-a4eb-24f16969dcab"/>
    <ds:schemaRef ds:uri="d8ecd2c7-f42d-412b-950c-7056a0e524e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lides for February 2018 Listening Sessions_FINAL</Template>
  <TotalTime>0</TotalTime>
  <Words>858</Words>
  <Application>Microsoft Office PowerPoint</Application>
  <PresentationFormat>Custom</PresentationFormat>
  <Paragraphs>97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Noto Sans VF</vt:lpstr>
      <vt:lpstr>Symbol</vt:lpstr>
      <vt:lpstr>Slides for February 2018 Listening Sessions_FINAL</vt:lpstr>
      <vt:lpstr>think-cell Slide</vt:lpstr>
      <vt:lpstr>EOHHS Public Listening Session</vt:lpstr>
      <vt:lpstr>Zoom/Conference Call Logistics</vt:lpstr>
      <vt:lpstr>Zoom/Conference Call Logistics</vt:lpstr>
      <vt:lpstr>Agenda </vt:lpstr>
      <vt:lpstr>Common Acronyms and Terms</vt:lpstr>
      <vt:lpstr>Overview: Waiver Amendment Process</vt:lpstr>
      <vt:lpstr>Overview: Adult Supports Waiver, Community Living Waiver, and Intensive Supports Waiver  </vt:lpstr>
      <vt:lpstr>Summary of Proposed Changes in these Amendments</vt:lpstr>
      <vt:lpstr>Process: HCBS Waiver Amendment</vt:lpstr>
      <vt:lpstr>Timeline</vt:lpstr>
      <vt:lpstr>Public Comment: EOHHS requests public input</vt:lpstr>
      <vt:lpstr>Public Comment:  Oral Comments at Today’s Listening Ses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Carolyn Sharzer</dc:creator>
  <cp:lastModifiedBy>Giacomini, Tainara G. (EHS)</cp:lastModifiedBy>
  <cp:revision>1</cp:revision>
  <cp:lastPrinted>2018-11-26T18:56:13Z</cp:lastPrinted>
  <dcterms:created xsi:type="dcterms:W3CDTF">2018-05-15T18:18:19Z</dcterms:created>
  <dcterms:modified xsi:type="dcterms:W3CDTF">2024-04-22T18:27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VGCompatibilityCheck Run By">
    <vt:lpwstr>Chandrasekar N</vt:lpwstr>
  </property>
  <property fmtid="{D5CDD505-2E9C-101B-9397-08002B2CF9AE}" pid="11" name="VGCompatibilityCheck Run On ">
    <vt:lpwstr>11/1/2013 12:30:02 PM</vt:lpwstr>
  </property>
  <property fmtid="{D5CDD505-2E9C-101B-9397-08002B2CF9AE}" pid="12" name="Office2010WasSaved">
    <vt:lpwstr>1</vt:lpwstr>
  </property>
  <property fmtid="{D5CDD505-2E9C-101B-9397-08002B2CF9AE}" pid="13" name="ContentTypeId">
    <vt:lpwstr>0x0101004ACAA8BD88EB8945AAE04407B477030C</vt:lpwstr>
  </property>
  <property fmtid="{D5CDD505-2E9C-101B-9397-08002B2CF9AE}" pid="14" name="VGCompatibilityCheck Run On">
    <vt:lpwstr>11/1/2013 12:30:02 PM</vt:lpwstr>
  </property>
</Properties>
</file>